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E72601A5-E0A5-4D3D-9B14-F84631A67931}">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443464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721685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01539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91298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29873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903978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41522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7879288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658765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815439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915834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609400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369705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6238051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7260985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000199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1832418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085869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23753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27681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03959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472806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665450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427958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034417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933033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187</Words>
  <Application>Microsoft Office PowerPoint</Application>
  <PresentationFormat>On-screen Show (16:9)</PresentationFormat>
  <Paragraphs>2107</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